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30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328" r:id="rId23"/>
    <p:sldId id="329" r:id="rId24"/>
    <p:sldId id="330" r:id="rId25"/>
    <p:sldId id="331" r:id="rId26"/>
    <p:sldId id="332" r:id="rId27"/>
    <p:sldId id="333" r:id="rId28"/>
    <p:sldId id="334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4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7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3.jpe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087697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Selected Financial Product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553325" y="1702965"/>
            <a:ext cx="4638674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" y="1702965"/>
            <a:ext cx="4838700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107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66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206651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070233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35376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519107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4289029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354172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216637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281780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857842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922985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424632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489775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412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89" b="9286"/>
          <a:stretch/>
        </p:blipFill>
        <p:spPr>
          <a:xfrm>
            <a:off x="5283376" y="1668196"/>
            <a:ext cx="1720673" cy="45943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534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9" name="Oval 38"/>
          <p:cNvSpPr/>
          <p:nvPr/>
        </p:nvSpPr>
        <p:spPr>
          <a:xfrm>
            <a:off x="8527191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592334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3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HIL Prod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Herald Leasing products so that I can chose leasing product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has successfully selected vehicle, dealer and transaction price confirmed </a:t>
            </a:r>
            <a:r>
              <a:rPr lang="en-US" sz="1400" dirty="0" smtClean="0">
                <a:solidFill>
                  <a:srgbClr val="172B4D"/>
                </a:solidFill>
              </a:rPr>
              <a:t>(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1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4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5)</a:t>
            </a:r>
            <a:endParaRPr lang="en-US" sz="14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4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Customer should be allowed to select various filter 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Customer has selected vehicle, dealer and transaction price confirmed </a:t>
            </a: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selects </a:t>
            </a:r>
            <a:r>
              <a:rPr lang="en-US" sz="1400" dirty="0" smtClean="0">
                <a:solidFill>
                  <a:srgbClr val="172B4D"/>
                </a:solidFill>
              </a:rPr>
              <a:t>HIL </a:t>
            </a:r>
            <a:r>
              <a:rPr lang="en-US" sz="1400" dirty="0">
                <a:solidFill>
                  <a:srgbClr val="172B4D"/>
                </a:solidFill>
              </a:rPr>
              <a:t>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selects down </a:t>
            </a:r>
            <a:r>
              <a:rPr lang="en-US" sz="1400" dirty="0" smtClean="0">
                <a:solidFill>
                  <a:srgbClr val="172B4D"/>
                </a:solidFill>
              </a:rPr>
              <a:t>payment </a:t>
            </a:r>
            <a:r>
              <a:rPr lang="en-US" sz="1400" dirty="0">
                <a:solidFill>
                  <a:srgbClr val="172B4D"/>
                </a:solidFill>
              </a:rPr>
              <a:t>&amp; percentage by selecting from the </a:t>
            </a:r>
            <a:r>
              <a:rPr lang="en-US" sz="1400" dirty="0" smtClean="0">
                <a:solidFill>
                  <a:srgbClr val="172B4D"/>
                </a:solidFill>
              </a:rPr>
              <a:t>dropdown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CRV is displayed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User </a:t>
            </a:r>
            <a:r>
              <a:rPr lang="en-US" sz="1400" dirty="0">
                <a:solidFill>
                  <a:srgbClr val="172B4D"/>
                </a:solidFill>
              </a:rPr>
              <a:t>can selects the term by </a:t>
            </a:r>
            <a:r>
              <a:rPr lang="en-US" sz="1400" dirty="0" err="1">
                <a:solidFill>
                  <a:srgbClr val="172B4D"/>
                </a:solidFill>
              </a:rPr>
              <a:t>by</a:t>
            </a:r>
            <a:r>
              <a:rPr lang="en-US" sz="1400" dirty="0">
                <a:solidFill>
                  <a:srgbClr val="172B4D"/>
                </a:solidFill>
              </a:rPr>
              <a:t>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HIL </a:t>
            </a:r>
            <a:r>
              <a:rPr lang="en-US" sz="1400" dirty="0">
                <a:solidFill>
                  <a:srgbClr val="172B4D"/>
                </a:solidFill>
              </a:rPr>
              <a:t>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SF Product is selected and adjusted user can click next and enters “”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794127" y="297305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IL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0268610" y="297305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47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4691632" y="6153089"/>
            <a:ext cx="1002213" cy="18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/>
          <p:cNvSpPr/>
          <p:nvPr/>
        </p:nvSpPr>
        <p:spPr>
          <a:xfrm>
            <a:off x="6249818" y="5707901"/>
            <a:ext cx="2605753" cy="84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20" name="Group 19"/>
          <p:cNvGrpSpPr/>
          <p:nvPr/>
        </p:nvGrpSpPr>
        <p:grpSpPr>
          <a:xfrm>
            <a:off x="1095375" y="1412875"/>
            <a:ext cx="10490309" cy="5336745"/>
            <a:chOff x="356135" y="330630"/>
            <a:chExt cx="11502189" cy="6173040"/>
          </a:xfrm>
        </p:grpSpPr>
        <p:grpSp>
          <p:nvGrpSpPr>
            <p:cNvPr id="21" name="Group 20"/>
            <p:cNvGrpSpPr/>
            <p:nvPr/>
          </p:nvGrpSpPr>
          <p:grpSpPr>
            <a:xfrm>
              <a:off x="356135" y="330630"/>
              <a:ext cx="11502189" cy="6173040"/>
              <a:chOff x="356135" y="330630"/>
              <a:chExt cx="11502189" cy="6173040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356135" y="330630"/>
                <a:ext cx="11502189" cy="6173040"/>
                <a:chOff x="356135" y="330630"/>
                <a:chExt cx="11502189" cy="6173040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356135" y="330630"/>
                  <a:ext cx="11502189" cy="6173040"/>
                  <a:chOff x="356135" y="330630"/>
                  <a:chExt cx="11502189" cy="6173040"/>
                </a:xfrm>
              </p:grpSpPr>
              <p:grpSp>
                <p:nvGrpSpPr>
                  <p:cNvPr id="27" name="Group 26"/>
                  <p:cNvGrpSpPr/>
                  <p:nvPr/>
                </p:nvGrpSpPr>
                <p:grpSpPr>
                  <a:xfrm>
                    <a:off x="356135" y="330630"/>
                    <a:ext cx="11502189" cy="6173040"/>
                    <a:chOff x="356135" y="330630"/>
                    <a:chExt cx="11502189" cy="6173040"/>
                  </a:xfrm>
                </p:grpSpPr>
                <p:grpSp>
                  <p:nvGrpSpPr>
                    <p:cNvPr id="29" name="Group 28"/>
                    <p:cNvGrpSpPr/>
                    <p:nvPr/>
                  </p:nvGrpSpPr>
                  <p:grpSpPr>
                    <a:xfrm>
                      <a:off x="356135" y="330630"/>
                      <a:ext cx="11502189" cy="6173040"/>
                      <a:chOff x="356135" y="330630"/>
                      <a:chExt cx="11502189" cy="6173040"/>
                    </a:xfrm>
                  </p:grpSpPr>
                  <p:grpSp>
                    <p:nvGrpSpPr>
                      <p:cNvPr id="31" name="Group 30"/>
                      <p:cNvGrpSpPr/>
                      <p:nvPr/>
                    </p:nvGrpSpPr>
                    <p:grpSpPr>
                      <a:xfrm>
                        <a:off x="356135" y="330630"/>
                        <a:ext cx="11502189" cy="6173040"/>
                        <a:chOff x="356135" y="330630"/>
                        <a:chExt cx="11502189" cy="6173040"/>
                      </a:xfrm>
                    </p:grpSpPr>
                    <p:grpSp>
                      <p:nvGrpSpPr>
                        <p:cNvPr id="33" name="Group 32"/>
                        <p:cNvGrpSpPr/>
                        <p:nvPr/>
                      </p:nvGrpSpPr>
                      <p:grpSpPr>
                        <a:xfrm>
                          <a:off x="356135" y="330630"/>
                          <a:ext cx="11502189" cy="6173040"/>
                          <a:chOff x="356135" y="330630"/>
                          <a:chExt cx="11502189" cy="6173040"/>
                        </a:xfrm>
                      </p:grpSpPr>
                      <p:grpSp>
                        <p:nvGrpSpPr>
                          <p:cNvPr id="35" name="Group 34"/>
                          <p:cNvGrpSpPr/>
                          <p:nvPr/>
                        </p:nvGrpSpPr>
                        <p:grpSpPr>
                          <a:xfrm>
                            <a:off x="356135" y="330630"/>
                            <a:ext cx="11502189" cy="6173040"/>
                            <a:chOff x="356135" y="330630"/>
                            <a:chExt cx="11502189" cy="6173040"/>
                          </a:xfrm>
                        </p:grpSpPr>
                        <p:grpSp>
                          <p:nvGrpSpPr>
                            <p:cNvPr id="37" name="Group 36"/>
                            <p:cNvGrpSpPr/>
                            <p:nvPr/>
                          </p:nvGrpSpPr>
                          <p:grpSpPr>
                            <a:xfrm>
                              <a:off x="356135" y="330630"/>
                              <a:ext cx="11502189" cy="6173040"/>
                              <a:chOff x="356135" y="330630"/>
                              <a:chExt cx="11502189" cy="6173040"/>
                            </a:xfrm>
                          </p:grpSpPr>
                          <p:grpSp>
                            <p:nvGrpSpPr>
                              <p:cNvPr id="39" name="Group 38"/>
                              <p:cNvGrpSpPr/>
                              <p:nvPr/>
                            </p:nvGrpSpPr>
                            <p:grpSpPr>
                              <a:xfrm>
                                <a:off x="356135" y="330630"/>
                                <a:ext cx="11502189" cy="6173040"/>
                                <a:chOff x="356135" y="330630"/>
                                <a:chExt cx="11502189" cy="6173040"/>
                              </a:xfrm>
                            </p:grpSpPr>
                            <p:grpSp>
                              <p:nvGrpSpPr>
                                <p:cNvPr id="41" name="Group 40"/>
                                <p:cNvGrpSpPr/>
                                <p:nvPr/>
                              </p:nvGrpSpPr>
                              <p:grpSpPr>
                                <a:xfrm>
                                  <a:off x="356135" y="330630"/>
                                  <a:ext cx="11502189" cy="6173040"/>
                                  <a:chOff x="356135" y="330630"/>
                                  <a:chExt cx="11502189" cy="6173040"/>
                                </a:xfrm>
                              </p:grpSpPr>
                              <p:pic>
                                <p:nvPicPr>
                                  <p:cNvPr id="43" name="Picture 42"/>
                                  <p:cNvPicPr>
                                    <a:picLocks noChangeAspect="1"/>
                                  </p:cNvPicPr>
                                  <p:nvPr/>
                                </p:nvPicPr>
                                <p:blipFill>
                                  <a:blip r:embed="rId2"/>
                                  <a:stretch>
                                    <a:fillRect/>
                                  </a:stretch>
                                </p:blipFill>
                                <p:spPr>
                                  <a:xfrm>
                                    <a:off x="356135" y="330630"/>
                                    <a:ext cx="11502189" cy="6173040"/>
                                  </a:xfrm>
                                  <a:prstGeom prst="rect">
                                    <a:avLst/>
                                  </a:prstGeom>
                                  <a:ln>
                                    <a:solidFill>
                                      <a:schemeClr val="accent1"/>
                                    </a:solidFill>
                                  </a:ln>
                                </p:spPr>
                              </p:pic>
                              <p:sp>
                                <p:nvSpPr>
                                  <p:cNvPr id="44" name="Rectangle 43"/>
                                  <p:cNvSpPr/>
                                  <p:nvPr/>
                                </p:nvSpPr>
                                <p:spPr>
                                  <a:xfrm>
                                    <a:off x="856648" y="2666198"/>
                                    <a:ext cx="365760" cy="221381"/>
                                  </a:xfrm>
                                  <a:prstGeom prst="rect">
                                    <a:avLst/>
                                  </a:prstGeom>
                                  <a:solidFill>
                                    <a:schemeClr val="bg1"/>
                                  </a:solidFill>
                                  <a:ln>
                                    <a:noFill/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  <p:txBody>
                                  <a:bodyPr rtlCol="0" anchor="ctr"/>
                                  <a:lstStyle/>
                                  <a:p>
                                    <a:pPr algn="ctr"/>
                                    <a:endParaRPr lang="en-US" sz="160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42" name="Rectangle 41"/>
                                <p:cNvSpPr/>
                                <p:nvPr/>
                              </p:nvSpPr>
                              <p:spPr>
                                <a:xfrm>
                                  <a:off x="856648" y="4050632"/>
                                  <a:ext cx="866274" cy="203735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/>
                                </a:solidFill>
                                <a:ln>
                                  <a:noFill/>
                                </a:ln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600"/>
                                </a:p>
                              </p:txBody>
                            </p:sp>
                          </p:grpSp>
                          <p:sp>
                            <p:nvSpPr>
                              <p:cNvPr id="40" name="Rectangle 39"/>
                              <p:cNvSpPr/>
                              <p:nvPr/>
                            </p:nvSpPr>
                            <p:spPr>
                              <a:xfrm>
                                <a:off x="6107229" y="4254367"/>
                                <a:ext cx="5240956" cy="606391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 sz="1600"/>
                              </a:p>
                            </p:txBody>
                          </p:sp>
                        </p:grpSp>
                        <p:sp>
                          <p:nvSpPr>
                            <p:cNvPr id="38" name="Rectangle 37"/>
                            <p:cNvSpPr/>
                            <p:nvPr/>
                          </p:nvSpPr>
                          <p:spPr>
                            <a:xfrm>
                              <a:off x="1605813" y="5813659"/>
                              <a:ext cx="1098885" cy="211756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1600"/>
                            </a:p>
                          </p:txBody>
                        </p:sp>
                      </p:grpSp>
                      <p:sp>
                        <p:nvSpPr>
                          <p:cNvPr id="36" name="Rectangle 35"/>
                          <p:cNvSpPr/>
                          <p:nvPr/>
                        </p:nvSpPr>
                        <p:spPr>
                          <a:xfrm>
                            <a:off x="2512593" y="5575434"/>
                            <a:ext cx="384209" cy="238225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1600"/>
                          </a:p>
                        </p:txBody>
                      </p:sp>
                    </p:grpSp>
                    <p:sp>
                      <p:nvSpPr>
                        <p:cNvPr id="34" name="Rectangle 33"/>
                        <p:cNvSpPr/>
                        <p:nvPr/>
                      </p:nvSpPr>
                      <p:spPr>
                        <a:xfrm>
                          <a:off x="6107229" y="5298708"/>
                          <a:ext cx="2661386" cy="976964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sz="1600"/>
                        </a:p>
                      </p:txBody>
                    </p:sp>
                  </p:grpSp>
                  <p:sp>
                    <p:nvSpPr>
                      <p:cNvPr id="32" name="Rectangle 31"/>
                      <p:cNvSpPr/>
                      <p:nvPr/>
                    </p:nvSpPr>
                    <p:spPr>
                      <a:xfrm>
                        <a:off x="5053260" y="5548965"/>
                        <a:ext cx="384209" cy="2382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1600"/>
                      </a:p>
                    </p:txBody>
                  </p:sp>
                </p:grpSp>
                <p:sp>
                  <p:nvSpPr>
                    <p:cNvPr id="30" name="Rectangle 29"/>
                    <p:cNvSpPr/>
                    <p:nvPr/>
                  </p:nvSpPr>
                  <p:spPr>
                    <a:xfrm>
                      <a:off x="4112790" y="5787190"/>
                      <a:ext cx="1098885" cy="21175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/>
                    </a:p>
                  </p:txBody>
                </p:sp>
              </p:grpSp>
              <p:sp>
                <p:nvSpPr>
                  <p:cNvPr id="28" name="Rectangle 27"/>
                  <p:cNvSpPr/>
                  <p:nvPr/>
                </p:nvSpPr>
                <p:spPr>
                  <a:xfrm>
                    <a:off x="1039528" y="1503145"/>
                    <a:ext cx="1665170" cy="251059"/>
                  </a:xfrm>
                  <a:prstGeom prst="rect">
                    <a:avLst/>
                  </a:prstGeom>
                  <a:solidFill>
                    <a:srgbClr val="F3F3F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26" name="Rectangle 25"/>
                <p:cNvSpPr/>
                <p:nvPr/>
              </p:nvSpPr>
              <p:spPr>
                <a:xfrm>
                  <a:off x="1173479" y="3546909"/>
                  <a:ext cx="1098885" cy="21175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24" name="TextBox 23"/>
              <p:cNvSpPr txBox="1"/>
              <p:nvPr/>
            </p:nvSpPr>
            <p:spPr>
              <a:xfrm>
                <a:off x="1087254" y="1479208"/>
                <a:ext cx="1809548" cy="2848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>
                    <a:latin typeface="BMW Group" pitchFamily="2" charset="0"/>
                    <a:cs typeface="BMW Group" pitchFamily="2" charset="0"/>
                  </a:rPr>
                  <a:t>悦选明天计划</a:t>
                </a:r>
                <a:endParaRPr lang="en-US" sz="1000" b="1" dirty="0">
                  <a:latin typeface="BMW Group" pitchFamily="2" charset="0"/>
                  <a:cs typeface="BMW Group" pitchFamily="2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36591" y="2653553"/>
              <a:ext cx="491691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 smtClean="0">
                  <a:latin typeface="BMW Group" pitchFamily="2" charset="0"/>
                  <a:cs typeface="BMW Group" pitchFamily="2" charset="0"/>
                </a:rPr>
                <a:t>月付</a:t>
              </a:r>
              <a:endParaRPr lang="en-US" sz="1000" b="1" dirty="0">
                <a:latin typeface="BMW Group" pitchFamily="2" charset="0"/>
                <a:cs typeface="BMW Group" pitchFamily="2" charset="0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1786678" y="4148657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79,000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551856" y="4628908"/>
            <a:ext cx="1291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最低回购价</a:t>
            </a:r>
            <a:r>
              <a:rPr lang="en-US" altLang="zh-CN" sz="1000" b="1" dirty="0" smtClean="0">
                <a:latin typeface="BMW Group" pitchFamily="2" charset="0"/>
                <a:cs typeface="BMW Group" pitchFamily="2" charset="0"/>
              </a:rPr>
              <a:t>/</a:t>
            </a:r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尾款</a:t>
            </a:r>
            <a:r>
              <a:rPr lang="en-US" altLang="zh-CN" sz="1000" b="1" dirty="0" smtClean="0">
                <a:latin typeface="BMW Group" pitchFamily="2" charset="0"/>
                <a:cs typeface="BMW Group" pitchFamily="2" charset="0"/>
              </a:rPr>
              <a:t>:</a:t>
            </a:r>
            <a:endParaRPr lang="en-US" sz="1000" b="1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585140" y="5409221"/>
            <a:ext cx="1072808" cy="239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8" name="TextBox 47"/>
          <p:cNvSpPr txBox="1"/>
          <p:nvPr/>
        </p:nvSpPr>
        <p:spPr>
          <a:xfrm>
            <a:off x="1589530" y="5450865"/>
            <a:ext cx="1291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期限：</a:t>
            </a:r>
            <a:endParaRPr lang="en-US" sz="1000" b="1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994454" y="5926194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24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330632" y="5925251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36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849591" y="4937292"/>
            <a:ext cx="1002213" cy="18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2" name="TextBox 51"/>
          <p:cNvSpPr txBox="1"/>
          <p:nvPr/>
        </p:nvSpPr>
        <p:spPr>
          <a:xfrm>
            <a:off x="1799846" y="4935516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79,000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19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Oval 3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HIL Product e.g. OC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Oval 37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05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0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12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4:</a:t>
            </a:r>
            <a:br>
              <a:rPr lang="en-US" dirty="0" smtClean="0"/>
            </a:br>
            <a:r>
              <a:rPr lang="en-US" dirty="0" smtClean="0"/>
              <a:t>Loyalty SF Offer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user I want to be able to select the loyalty SF offer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enjoy the loyalty program interest rate subsid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1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4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5)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should be allowed to select various filter 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has selected vehicle, dealer and transaction price confirmed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Customer is identified as SF loyalty program user and is entitled to the SF loyalty offer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S004-MCB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26" name="Oval 2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Loyalty  Produc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09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5: </a:t>
            </a:r>
            <a:r>
              <a:rPr lang="en-US" b="0" dirty="0" smtClean="0"/>
              <a:t>Selected </a:t>
            </a:r>
            <a:r>
              <a:rPr lang="en-US" b="0" dirty="0"/>
              <a:t>Financial Produ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001:</a:t>
            </a: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the SF Product and adjust the parameter to my </a:t>
            </a:r>
            <a:r>
              <a:rPr lang="en-US" dirty="0" smtClean="0"/>
              <a:t>needs so </a:t>
            </a:r>
            <a:r>
              <a:rPr lang="en-US" dirty="0"/>
              <a:t>that I can get the SF Product that fits my personal </a:t>
            </a:r>
            <a:r>
              <a:rPr lang="en-US" dirty="0" smtClean="0"/>
              <a:t> need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add associated products to the </a:t>
            </a:r>
            <a:r>
              <a:rPr lang="en-US" dirty="0" smtClean="0"/>
              <a:t>finance offer so </a:t>
            </a:r>
            <a:r>
              <a:rPr lang="en-US" dirty="0"/>
              <a:t>that I can add vehicle </a:t>
            </a:r>
            <a:r>
              <a:rPr lang="en-US" dirty="0" smtClean="0"/>
              <a:t>accessories </a:t>
            </a:r>
            <a:r>
              <a:rPr lang="en-US" dirty="0"/>
              <a:t>and etc. to the to be financed </a:t>
            </a:r>
            <a:r>
              <a:rPr lang="en-US" dirty="0" smtClean="0"/>
              <a:t>amount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Herald Leasing </a:t>
            </a:r>
            <a:r>
              <a:rPr lang="en-US" dirty="0" smtClean="0"/>
              <a:t>products so </a:t>
            </a:r>
            <a:r>
              <a:rPr lang="en-US" dirty="0"/>
              <a:t>that </a:t>
            </a:r>
            <a:r>
              <a:rPr lang="en-US" dirty="0" smtClean="0"/>
              <a:t>I can </a:t>
            </a:r>
            <a:r>
              <a:rPr lang="en-US" dirty="0"/>
              <a:t>chose leasing </a:t>
            </a:r>
            <a:r>
              <a:rPr lang="en-US" dirty="0" smtClean="0"/>
              <a:t>product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</a:t>
            </a:r>
            <a:r>
              <a:rPr lang="en-US" dirty="0" smtClean="0"/>
              <a:t>user I </a:t>
            </a:r>
            <a:r>
              <a:rPr lang="en-US" dirty="0"/>
              <a:t>want to be able to select the loyalty SF </a:t>
            </a:r>
            <a:r>
              <a:rPr lang="en-US" dirty="0" smtClean="0"/>
              <a:t>offer so </a:t>
            </a:r>
            <a:r>
              <a:rPr lang="en-US" dirty="0"/>
              <a:t>that </a:t>
            </a:r>
            <a:r>
              <a:rPr lang="en-US" dirty="0" smtClean="0"/>
              <a:t>I </a:t>
            </a:r>
            <a:r>
              <a:rPr lang="en-US" dirty="0"/>
              <a:t>can enjoy the loyalty program interest rate subsidy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notified in how many days the offer is </a:t>
            </a:r>
            <a:r>
              <a:rPr lang="en-US" dirty="0" smtClean="0"/>
              <a:t>expired.</a:t>
            </a: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</a:t>
            </a:r>
            <a:r>
              <a:rPr lang="en-US" dirty="0" smtClean="0"/>
              <a:t>select dealer specific SF products </a:t>
            </a:r>
            <a:r>
              <a:rPr lang="en-US" dirty="0"/>
              <a:t>so that </a:t>
            </a:r>
            <a:r>
              <a:rPr lang="en-US" dirty="0" err="1"/>
              <a:t>i</a:t>
            </a:r>
            <a:r>
              <a:rPr lang="en-US" dirty="0"/>
              <a:t> can enjoy dealer specific SF </a:t>
            </a:r>
            <a:r>
              <a:rPr lang="en-US" dirty="0" smtClean="0"/>
              <a:t>campaig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Oval 37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Loyalty  Produc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9" name="Oval 38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29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26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97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5-S005-Alex 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notified in how many days the offer is expired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tand alone financial calculator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expiration rules of financial product has been configured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or one calculator.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q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otation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nformation which DFE is neede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(incl. transaction price) is selected by applicants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auto-check expired date of selected financial product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applicant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click ‘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the submission date is within X days from expired date of selected financial product, a pop-up will remind applicant that “Please submit your loan application in X days.”</a:t>
            </a:r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220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1-Alex </a:t>
            </a:r>
            <a:r>
              <a:rPr lang="en-US" dirty="0" smtClean="0"/>
              <a:t>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8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4756996" y="17224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508485" y="554420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935755" y="18431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4880956" y="19115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4880956" y="20008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077946" y="2452874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328963" y="28623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328963" y="33004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30840" y="37264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28962" y="47232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 rot="5400000">
            <a:off x="5077193" y="42701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765071" y="17300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142348" y="3005019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515017" y="408952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80956" y="1380800"/>
            <a:ext cx="244066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soon to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pir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roduct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52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1-Alex Wang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-871771" y="1671634"/>
            <a:ext cx="5226370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508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3933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-344948" y="4784256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0" name="Oval 9"/>
          <p:cNvSpPr/>
          <p:nvPr/>
        </p:nvSpPr>
        <p:spPr>
          <a:xfrm>
            <a:off x="518634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83777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1967508" y="2476978"/>
            <a:ext cx="2205596" cy="2625753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3737430" y="265650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3802573" y="272113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665038" y="352196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730181" y="358660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306243" y="419448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371386" y="425912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2873033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938176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349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Rectangle 26"/>
          <p:cNvSpPr/>
          <p:nvPr/>
        </p:nvSpPr>
        <p:spPr>
          <a:xfrm>
            <a:off x="4591089" y="3137155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65301" y="4036827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806800" y="1671634"/>
            <a:ext cx="538519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133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Rectangle 32"/>
          <p:cNvSpPr/>
          <p:nvPr/>
        </p:nvSpPr>
        <p:spPr>
          <a:xfrm>
            <a:off x="7209330" y="5251368"/>
            <a:ext cx="2107132" cy="4041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487922" y="2586715"/>
            <a:ext cx="1570825" cy="2933136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0370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9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1602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</a:t>
            </a:r>
            <a:r>
              <a:rPr lang="en-US" dirty="0" smtClean="0"/>
              <a:t>006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Select dealers specific produc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9" y="1048659"/>
            <a:ext cx="9560660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SF Product and adjust the parameter to my needs so that I can get the SF Product that fits my personal  need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</a:t>
            </a:r>
            <a:r>
              <a:rPr lang="en-US" sz="14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</a:t>
            </a:r>
            <a:r>
              <a:rPr lang="en-US" sz="1400" dirty="0" smtClean="0">
                <a:solidFill>
                  <a:srgbClr val="172B4D"/>
                </a:solidFill>
              </a:rPr>
              <a:t>F&amp;I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1, </a:t>
            </a:r>
            <a:r>
              <a:rPr lang="en-US" sz="140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 smtClean="0"/>
              <a:t>ES-S 004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5)</a:t>
            </a:r>
            <a:endParaRPr lang="en-US" sz="14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 Customer </a:t>
            </a:r>
            <a:r>
              <a:rPr lang="en-US" sz="1400" dirty="0">
                <a:solidFill>
                  <a:srgbClr val="172B4D"/>
                </a:solidFill>
              </a:rPr>
              <a:t>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select various </a:t>
            </a:r>
            <a:r>
              <a:rPr lang="en-US" sz="1400" dirty="0">
                <a:solidFill>
                  <a:srgbClr val="172B4D"/>
                </a:solidFill>
              </a:rPr>
              <a:t>filter </a:t>
            </a:r>
            <a:r>
              <a:rPr lang="en-US" sz="1400" dirty="0" smtClean="0">
                <a:solidFill>
                  <a:srgbClr val="172B4D"/>
                </a:solidFill>
              </a:rPr>
              <a:t>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Customer has selected </a:t>
            </a:r>
            <a:r>
              <a:rPr lang="en-US" sz="1400" dirty="0">
                <a:solidFill>
                  <a:srgbClr val="172B4D"/>
                </a:solidFill>
              </a:rPr>
              <a:t>vehicle, </a:t>
            </a:r>
            <a:r>
              <a:rPr lang="en-US" sz="1400" b="1" dirty="0">
                <a:solidFill>
                  <a:srgbClr val="172B4D"/>
                </a:solidFill>
              </a:rPr>
              <a:t>dealer</a:t>
            </a:r>
            <a:r>
              <a:rPr lang="en-US" sz="1400" dirty="0">
                <a:solidFill>
                  <a:srgbClr val="172B4D"/>
                </a:solidFill>
              </a:rPr>
              <a:t> and transaction </a:t>
            </a:r>
            <a:r>
              <a:rPr lang="en-US" sz="1400" dirty="0" smtClean="0">
                <a:solidFill>
                  <a:srgbClr val="172B4D"/>
                </a:solidFill>
              </a:rPr>
              <a:t>price confirmed </a:t>
            </a:r>
            <a:endParaRPr lang="en-US" sz="14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dealers specific SF 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down / balloon payment &amp; percentage by selecting from the dropdown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selects the term by </a:t>
            </a:r>
            <a:r>
              <a:rPr lang="en-US" sz="1400" dirty="0" smtClean="0">
                <a:solidFill>
                  <a:srgbClr val="172B4D"/>
                </a:solidFill>
              </a:rPr>
              <a:t>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Once the SF Product is selected and adjusted user can click next and enters “the confirmation page”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15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</a:t>
            </a:r>
            <a:r>
              <a:rPr lang="en-US" dirty="0" smtClean="0"/>
              <a:t>006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 specific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096000" y="1814918"/>
            <a:ext cx="3160809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lect dealers specific product</a:t>
            </a:r>
            <a:endParaRPr lang="en-US" sz="14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080" y="1884579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3770080" y="2555934"/>
            <a:ext cx="2205596" cy="262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</a:t>
            </a:r>
            <a:r>
              <a:rPr lang="en-US" dirty="0" smtClean="0"/>
              <a:t>006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 specific produ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1" name="Oval 10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Oval 40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90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1:</a:t>
            </a:r>
            <a:br>
              <a:rPr lang="en-US" dirty="0" smtClean="0"/>
            </a:br>
            <a:r>
              <a:rPr lang="en-US" dirty="0" smtClean="0"/>
              <a:t>Select SF Produc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9" y="1048659"/>
            <a:ext cx="9560660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SF Product and adjust the parameter to my needs so that I can get the SF Product that fits my personal  need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</a:t>
            </a:r>
            <a:r>
              <a:rPr lang="en-US" sz="14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</a:t>
            </a:r>
            <a:r>
              <a:rPr lang="en-US" sz="1400" dirty="0" smtClean="0">
                <a:solidFill>
                  <a:srgbClr val="172B4D"/>
                </a:solidFill>
              </a:rPr>
              <a:t>F&amp;I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1, </a:t>
            </a:r>
            <a:r>
              <a:rPr lang="en-US" sz="140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 smtClean="0"/>
              <a:t>ES-S 004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5)</a:t>
            </a:r>
            <a:endParaRPr lang="en-US" sz="14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 Customer </a:t>
            </a:r>
            <a:r>
              <a:rPr lang="en-US" sz="1400" dirty="0">
                <a:solidFill>
                  <a:srgbClr val="172B4D"/>
                </a:solidFill>
              </a:rPr>
              <a:t>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select various </a:t>
            </a:r>
            <a:r>
              <a:rPr lang="en-US" sz="1400" dirty="0">
                <a:solidFill>
                  <a:srgbClr val="172B4D"/>
                </a:solidFill>
              </a:rPr>
              <a:t>filter </a:t>
            </a:r>
            <a:r>
              <a:rPr lang="en-US" sz="1400" dirty="0" smtClean="0">
                <a:solidFill>
                  <a:srgbClr val="172B4D"/>
                </a:solidFill>
              </a:rPr>
              <a:t>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Customer has selected </a:t>
            </a:r>
            <a:r>
              <a:rPr lang="en-US" sz="1400" dirty="0">
                <a:solidFill>
                  <a:srgbClr val="172B4D"/>
                </a:solidFill>
              </a:rPr>
              <a:t>vehicle, dealer and transaction </a:t>
            </a:r>
            <a:r>
              <a:rPr lang="en-US" sz="1400" dirty="0" smtClean="0">
                <a:solidFill>
                  <a:srgbClr val="172B4D"/>
                </a:solidFill>
              </a:rPr>
              <a:t>price confirmed </a:t>
            </a:r>
            <a:endParaRPr lang="en-US" sz="14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SF 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down / balloon payment &amp; percentage by selecting from the dropdown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selects the term by </a:t>
            </a:r>
            <a:r>
              <a:rPr lang="en-US" sz="1400" dirty="0" err="1">
                <a:solidFill>
                  <a:srgbClr val="172B4D"/>
                </a:solidFill>
              </a:rPr>
              <a:t>by</a:t>
            </a:r>
            <a:r>
              <a:rPr lang="en-US" sz="1400" dirty="0">
                <a:solidFill>
                  <a:srgbClr val="172B4D"/>
                </a:solidFill>
              </a:rPr>
              <a:t>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</a:t>
            </a:r>
            <a:r>
              <a:rPr lang="en-US" sz="1400" dirty="0" smtClean="0">
                <a:solidFill>
                  <a:srgbClr val="172B4D"/>
                </a:solidFill>
              </a:rPr>
              <a:t>SF Product is selected and adjusted </a:t>
            </a:r>
            <a:r>
              <a:rPr lang="en-US" sz="1400" dirty="0">
                <a:solidFill>
                  <a:srgbClr val="172B4D"/>
                </a:solidFill>
              </a:rPr>
              <a:t>user can click next and enters </a:t>
            </a:r>
            <a:r>
              <a:rPr lang="en-US" sz="1400" dirty="0" smtClean="0">
                <a:solidFill>
                  <a:srgbClr val="172B4D"/>
                </a:solidFill>
              </a:rPr>
              <a:t>“the confirmation page”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</a:t>
            </a:r>
            <a:r>
              <a:rPr lang="en-US" sz="1400" dirty="0">
                <a:solidFill>
                  <a:srgbClr val="172B4D"/>
                </a:solidFill>
              </a:rPr>
              <a:t>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096000" y="1814918"/>
            <a:ext cx="3160809" cy="22467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AG_VG code from parent page is correct, SF Web Calculator will provi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F</a:t>
            </a: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ndard </a:t>
            </a:r>
            <a:r>
              <a:rPr lang="en-US" sz="1400" dirty="0">
                <a:solidFill>
                  <a:srgbClr val="000000"/>
                </a:solidFill>
                <a:latin typeface="BMW Group Condensed" panose="020B0606020202020204" pitchFamily="34" charset="0"/>
              </a:rPr>
              <a:t>and Campaign Product</a:t>
            </a:r>
            <a:endParaRPr lang="en-US" sz="14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inancial Options/Parameters, down payment, balloon percentage, etc. 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nformation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o generate quotation for customer;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otation content and design can refer to DMO.</a:t>
            </a:r>
            <a:endParaRPr lang="en-US" sz="14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080" y="1884579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3770080" y="2555934"/>
            <a:ext cx="2205596" cy="262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1" name="Oval 10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Oval 40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SP Prod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add associated products to the finance offer so that I can add vehicle accessories and etc.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to </a:t>
            </a:r>
            <a:r>
              <a:rPr lang="en-US" dirty="0"/>
              <a:t>the to be financed amount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ssump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1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4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5)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 Customer </a:t>
            </a:r>
            <a:r>
              <a:rPr lang="en-US" sz="1600" dirty="0">
                <a:solidFill>
                  <a:srgbClr val="172B4D"/>
                </a:solidFill>
              </a:rPr>
              <a:t>should be allowed to select various filter parameters to select the </a:t>
            </a:r>
            <a:r>
              <a:rPr lang="en-US" sz="1600" dirty="0" smtClean="0">
                <a:solidFill>
                  <a:srgbClr val="172B4D"/>
                </a:solidFill>
              </a:rPr>
              <a:t>ASP SF </a:t>
            </a:r>
            <a:r>
              <a:rPr lang="en-US" sz="1600" dirty="0">
                <a:solidFill>
                  <a:srgbClr val="172B4D"/>
                </a:solidFill>
              </a:rPr>
              <a:t>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 Customer </a:t>
            </a:r>
            <a:r>
              <a:rPr lang="en-US" sz="1600" dirty="0">
                <a:solidFill>
                  <a:srgbClr val="172B4D"/>
                </a:solidFill>
              </a:rPr>
              <a:t>has selected vehicle, dealer and transaction price confirmed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89" b="9286"/>
          <a:stretch/>
        </p:blipFill>
        <p:spPr>
          <a:xfrm>
            <a:off x="4380617" y="1530246"/>
            <a:ext cx="1720673" cy="459432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712</Words>
  <Application>Microsoft Office PowerPoint</Application>
  <PresentationFormat>Widescreen</PresentationFormat>
  <Paragraphs>301</Paragraphs>
  <Slides>28</Slides>
  <Notes>0</Notes>
  <HiddenSlides>5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5: Selected Financial Product</vt:lpstr>
      <vt:lpstr>Story ID: EF-EP-005-ES-S 001: Select SF Product </vt:lpstr>
      <vt:lpstr>Story ID: EF-EP-005-ES-S 001 Select SF Product</vt:lpstr>
      <vt:lpstr>Story ID: EF-EP-005-ES-S 001 Select SF Product</vt:lpstr>
      <vt:lpstr>Story ID: EF-EP-005-ES-S 001 Select SF Product</vt:lpstr>
      <vt:lpstr>Story ID: EF-EP-005-ES-S 001 Select SF Product </vt:lpstr>
      <vt:lpstr>Story ID: EF-EP-005-ES-S 002: ASP Products</vt:lpstr>
      <vt:lpstr>Story ID: EF-EP-005-ES-S 002 ASP Products</vt:lpstr>
      <vt:lpstr>Story ID: EF-EP-005-ES-S 002 ASP Products </vt:lpstr>
      <vt:lpstr>Story ID: EF-EP-005-ES-S 002 ASP Products </vt:lpstr>
      <vt:lpstr>Story ID: EF-EP-005-ES-S 002 ASP Products</vt:lpstr>
      <vt:lpstr>Story ID: EF-EP-005-ES-S 003: HIL Products</vt:lpstr>
      <vt:lpstr>Story ID: EF-EP-005-ES-S 003 HIL Products</vt:lpstr>
      <vt:lpstr>Story ID: EF-EP-005-ES-S 003 HIL Products</vt:lpstr>
      <vt:lpstr>Story ID: EF-EP-005-ES-S 003 HIL Products</vt:lpstr>
      <vt:lpstr>Story ID: EF-EP-005-ES-S 003 HIL Products</vt:lpstr>
      <vt:lpstr>Story ID: EF-EP-005-ES-S 004: Loyalty SF Offer </vt:lpstr>
      <vt:lpstr>Story ID: EF-EP-005-S004-MCB Loyalty SF Offer</vt:lpstr>
      <vt:lpstr>Story ID: EF-EP-005-ES-S 004 Loyalty SF Offer</vt:lpstr>
      <vt:lpstr>Story ID: EF-EP-005-ES-S 004 Loyalty SF Offer</vt:lpstr>
      <vt:lpstr>Story ID: EF-EP-005-ES-S 004 Loyalty SF Offer</vt:lpstr>
      <vt:lpstr>Story ID: EP005-S005-Alex Wang:  </vt:lpstr>
      <vt:lpstr>Story ID: EP006-S001-Alex Wang: </vt:lpstr>
      <vt:lpstr>Story ID: EP006-S001-Alex Wang:</vt:lpstr>
      <vt:lpstr>Story ID: EF-EP-005-ES-S 006: Select dealers specific product </vt:lpstr>
      <vt:lpstr>Story ID: EF-EP-005-ES-S 006 Select dealers specific product</vt:lpstr>
      <vt:lpstr>Story ID: EF-EP-005-ES-S 006 Select dealers specific product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207</cp:revision>
  <dcterms:created xsi:type="dcterms:W3CDTF">2017-04-27T07:24:45Z</dcterms:created>
  <dcterms:modified xsi:type="dcterms:W3CDTF">2018-10-17T11:50:04Z</dcterms:modified>
</cp:coreProperties>
</file>